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602876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7257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1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5662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1" y="1025527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488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7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0177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52167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4946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4" y="5981702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0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7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0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4484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1" y="6381752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4" y="6526215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9" y="6626227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18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7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1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38485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fr-FR" sz="2800" dirty="0"/>
              <a:t>Improve the organoleptic quality of your sensitive product with lower carbon footprint</a:t>
            </a:r>
            <a:br>
              <a:rPr lang="en-US" altLang="fr-FR" sz="2800" dirty="0"/>
            </a:br>
            <a:r>
              <a:rPr lang="en-GB" altLang="fr-FR" dirty="0"/>
              <a:t/>
            </a:r>
            <a:br>
              <a:rPr lang="en-GB" altLang="fr-FR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2" y="1329272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GB" dirty="0"/>
              <a:t>PredisTM C3 as </a:t>
            </a:r>
            <a:r>
              <a:rPr lang="en-GB" dirty="0" smtClean="0"/>
              <a:t>O&amp;U</a:t>
            </a:r>
            <a:endParaRPr lang="en-GB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GB" dirty="0">
                <a:solidFill>
                  <a:srgbClr val="000000"/>
                </a:solidFill>
              </a:rPr>
              <a:t>Value: Product Quality</a:t>
            </a:r>
          </a:p>
          <a:p>
            <a:r>
              <a:rPr lang="en-GB" dirty="0">
                <a:solidFill>
                  <a:srgbClr val="000000"/>
                </a:solidFill>
              </a:rPr>
              <a:t>Equipment: </a:t>
            </a:r>
            <a:r>
              <a:rPr lang="en-GB" dirty="0" smtClean="0">
                <a:solidFill>
                  <a:srgbClr val="000000"/>
                </a:solidFill>
              </a:rPr>
              <a:t>Blowers Universal</a:t>
            </a:r>
            <a:endParaRPr lang="en-GB" dirty="0">
              <a:solidFill>
                <a:srgbClr val="000000"/>
              </a:solidFill>
            </a:endParaRPr>
          </a:p>
          <a:p>
            <a:r>
              <a:rPr lang="en-GB" dirty="0">
                <a:solidFill>
                  <a:srgbClr val="000000"/>
                </a:solidFill>
              </a:rPr>
              <a:t>Catalogue code: </a:t>
            </a:r>
            <a:r>
              <a:rPr lang="en-GB" dirty="0" smtClean="0">
                <a:solidFill>
                  <a:srgbClr val="000000"/>
                </a:solidFill>
              </a:rPr>
              <a:t>1006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0648204"/>
              </p:ext>
            </p:extLst>
          </p:nvPr>
        </p:nvGraphicFramePr>
        <p:xfrm>
          <a:off x="651885" y="1743077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dirty="0" smtClean="0"/>
                        <a:t>Self protection due to H2O2 exhaust after activation and blowing phases</a:t>
                      </a:r>
                    </a:p>
                    <a:p>
                      <a:pPr marL="182563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b="1" dirty="0" smtClean="0">
                          <a:solidFill>
                            <a:schemeClr val="accent4"/>
                          </a:solidFill>
                        </a:rPr>
                        <a:t>Economical:</a:t>
                      </a:r>
                    </a:p>
                    <a:p>
                      <a:pPr marL="452438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000" dirty="0" smtClean="0"/>
                        <a:t>Low consumption of chemical &amp; energies: </a:t>
                      </a:r>
                    </a:p>
                    <a:p>
                      <a:pPr marL="989013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000" dirty="0" smtClean="0"/>
                        <a:t> H2O2 consumption &lt; 1l/h</a:t>
                      </a:r>
                    </a:p>
                    <a:p>
                      <a:pPr marL="989013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000" dirty="0" smtClean="0"/>
                        <a:t> H2O2 residual &lt; 0,5ppm</a:t>
                      </a:r>
                    </a:p>
                    <a:p>
                      <a:pPr marL="452438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000" dirty="0" smtClean="0"/>
                        <a:t>Low maintenance and labor costs</a:t>
                      </a:r>
                    </a:p>
                    <a:p>
                      <a:pPr marL="452438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000" dirty="0" smtClean="0"/>
                        <a:t>Simple solution to extend shelf life </a:t>
                      </a:r>
                    </a:p>
                    <a:p>
                      <a:pPr marL="182563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b="1" dirty="0" smtClean="0">
                          <a:solidFill>
                            <a:schemeClr val="accent4"/>
                          </a:solidFill>
                          <a:latin typeface="Arial" charset="0"/>
                          <a:ea typeface="+mn-ea"/>
                          <a:cs typeface="+mn-cs"/>
                        </a:rPr>
                        <a:t>Ecological:</a:t>
                      </a:r>
                      <a:r>
                        <a:rPr lang="en-US" altLang="fr-FR" sz="1200" baseline="0" dirty="0" smtClean="0"/>
                        <a:t> </a:t>
                      </a:r>
                      <a:r>
                        <a:rPr lang="en-US" altLang="fr-FR" sz="1200" dirty="0" smtClean="0"/>
                        <a:t>Low power; no water consumption;</a:t>
                      </a:r>
                      <a:r>
                        <a:rPr lang="en-US" altLang="fr-FR" sz="1200" baseline="0" dirty="0" smtClean="0"/>
                        <a:t> n</a:t>
                      </a:r>
                      <a:r>
                        <a:rPr lang="en-US" altLang="fr-FR" sz="1200" dirty="0" smtClean="0"/>
                        <a:t>o effluents;</a:t>
                      </a:r>
                      <a:r>
                        <a:rPr lang="en-US" altLang="fr-FR" sz="1200" baseline="0" dirty="0" smtClean="0"/>
                        <a:t> c</a:t>
                      </a:r>
                      <a:r>
                        <a:rPr lang="en-US" altLang="fr-FR" sz="1200" dirty="0" smtClean="0"/>
                        <a:t>ompact system</a:t>
                      </a:r>
                    </a:p>
                    <a:p>
                      <a:pPr marL="182563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b="1" dirty="0" smtClean="0">
                          <a:solidFill>
                            <a:schemeClr val="accent4"/>
                          </a:solidFill>
                          <a:latin typeface="Arial" charset="0"/>
                          <a:ea typeface="+mn-ea"/>
                          <a:cs typeface="+mn-cs"/>
                        </a:rPr>
                        <a:t>Safe: </a:t>
                      </a:r>
                      <a:r>
                        <a:rPr lang="en-US" altLang="fr-FR" sz="1200" dirty="0" smtClean="0"/>
                        <a:t>3log reduction guarantee (on bacillus </a:t>
                      </a:r>
                      <a:r>
                        <a:rPr lang="en-US" altLang="fr-FR" sz="1200" dirty="0" err="1" smtClean="0"/>
                        <a:t>Atrophaeus</a:t>
                      </a:r>
                      <a:r>
                        <a:rPr lang="en-US" altLang="fr-FR" sz="1200" dirty="0" smtClean="0"/>
                        <a:t>);</a:t>
                      </a:r>
                      <a:r>
                        <a:rPr lang="en-US" altLang="fr-FR" sz="1200" baseline="0" dirty="0" smtClean="0"/>
                        <a:t> </a:t>
                      </a:r>
                      <a:r>
                        <a:rPr lang="en-US" altLang="fr-FR" sz="1200" dirty="0" smtClean="0"/>
                        <a:t>100% of bottles produced are decontaminated;</a:t>
                      </a:r>
                      <a:r>
                        <a:rPr lang="en-US" altLang="fr-FR" sz="1200" baseline="0" dirty="0" smtClean="0"/>
                        <a:t> e</a:t>
                      </a:r>
                      <a:r>
                        <a:rPr lang="en-US" altLang="fr-FR" sz="1200" dirty="0" smtClean="0"/>
                        <a:t>xclusively with H2O2 from SOLVAY supplier</a:t>
                      </a:r>
                    </a:p>
                    <a:p>
                      <a:pPr marL="182563" marR="0" indent="-182563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b="1" dirty="0" smtClean="0">
                          <a:solidFill>
                            <a:schemeClr val="accent4"/>
                          </a:solidFill>
                          <a:latin typeface="Arial" charset="0"/>
                          <a:ea typeface="+mn-ea"/>
                          <a:cs typeface="+mn-cs"/>
                        </a:rPr>
                        <a:t>Packaging: </a:t>
                      </a:r>
                      <a:r>
                        <a:rPr lang="en-US" altLang="fr-FR" sz="1200" dirty="0" smtClean="0"/>
                        <a:t>Possible light weighting;</a:t>
                      </a:r>
                      <a:r>
                        <a:rPr lang="en-US" altLang="fr-FR" sz="1200" baseline="0" dirty="0" smtClean="0"/>
                        <a:t> t</a:t>
                      </a:r>
                      <a:r>
                        <a:rPr lang="en-US" altLang="fr-FR" sz="1200" dirty="0" smtClean="0"/>
                        <a:t>otal freedom of shap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altLang="fr-FR" sz="1200" dirty="0" smtClean="0"/>
                        <a:t>Easy integration of the five options in the existing configuration:</a:t>
                      </a:r>
                    </a:p>
                    <a:p>
                      <a:pPr marL="452438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altLang="fr-FR" sz="1000" dirty="0" smtClean="0"/>
                        <a:t>UV rail</a:t>
                      </a:r>
                    </a:p>
                    <a:p>
                      <a:pPr marL="452438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altLang="fr-FR" sz="1000" dirty="0" err="1" smtClean="0"/>
                        <a:t>Dedusting</a:t>
                      </a:r>
                      <a:r>
                        <a:rPr lang="en-US" altLang="fr-FR" sz="1000" dirty="0" smtClean="0"/>
                        <a:t> module</a:t>
                      </a:r>
                    </a:p>
                    <a:p>
                      <a:pPr marL="452438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altLang="fr-FR" sz="1000" dirty="0" err="1" smtClean="0"/>
                        <a:t>Predis</a:t>
                      </a:r>
                      <a:r>
                        <a:rPr lang="en-US" altLang="fr-FR" sz="1000" dirty="0" smtClean="0"/>
                        <a:t> C3 module</a:t>
                      </a:r>
                    </a:p>
                    <a:p>
                      <a:pPr marL="452438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altLang="fr-FR" sz="1000" dirty="0" smtClean="0"/>
                        <a:t>Extraction hood</a:t>
                      </a:r>
                    </a:p>
                    <a:p>
                      <a:pPr marL="452438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altLang="fr-FR" sz="1000" dirty="0" smtClean="0"/>
                        <a:t>Blowing air filtration</a:t>
                      </a:r>
                      <a:endParaRPr lang="en-US" altLang="fr-FR" sz="1000" dirty="0" smtClean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9956" y="4138468"/>
            <a:ext cx="3455556" cy="135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816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3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4</Words>
  <Application>Microsoft Office PowerPoint</Application>
  <PresentationFormat>Affichage à l'écran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37_Sidel Template 2013</vt:lpstr>
      <vt:lpstr>think-cell Folie</vt:lpstr>
      <vt:lpstr>Improve the organoleptic quality of your sensitive product with lower carbon footprint 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heating on Zone 1 </dc:title>
  <dc:creator>De Chanteloup, Barbara</dc:creator>
  <cp:lastModifiedBy>De Chanteloup, Barbara</cp:lastModifiedBy>
  <cp:revision>3</cp:revision>
  <dcterms:created xsi:type="dcterms:W3CDTF">2014-08-18T09:41:34Z</dcterms:created>
  <dcterms:modified xsi:type="dcterms:W3CDTF">2014-08-18T09:54:43Z</dcterms:modified>
</cp:coreProperties>
</file>